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7" r:id="rId2"/>
    <p:sldId id="261" r:id="rId3"/>
    <p:sldId id="260" r:id="rId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3" autoAdjust="0"/>
    <p:restoredTop sz="95657" autoAdjust="0"/>
  </p:normalViewPr>
  <p:slideViewPr>
    <p:cSldViewPr snapToGrid="0" showGuides="1">
      <p:cViewPr varScale="1">
        <p:scale>
          <a:sx n="88" d="100"/>
          <a:sy n="88" d="100"/>
        </p:scale>
        <p:origin x="331" y="8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561040"/>
        <c:axId val="151561600"/>
      </c:barChart>
      <c:catAx>
        <c:axId val="15156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561600"/>
        <c:crosses val="autoZero"/>
        <c:auto val="1"/>
        <c:lblAlgn val="ctr"/>
        <c:lblOffset val="100"/>
        <c:noMultiLvlLbl val="0"/>
      </c:catAx>
      <c:valAx>
        <c:axId val="151561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56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B$1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563840"/>
        <c:axId val="181613824"/>
      </c:barChart>
      <c:catAx>
        <c:axId val="15156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1613824"/>
        <c:crosses val="autoZero"/>
        <c:auto val="1"/>
        <c:lblAlgn val="ctr"/>
        <c:lblOffset val="100"/>
        <c:noMultiLvlLbl val="0"/>
      </c:catAx>
      <c:valAx>
        <c:axId val="18161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56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numRef>
              <c:f>Лист1!$B$1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chart" Target="../charts/chart3.xm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062</cdr:x>
      <cdr:y>0.03609</cdr:y>
    </cdr:from>
    <cdr:to>
      <cdr:x>0.933</cdr:x>
      <cdr:y>0.48851</cdr:y>
    </cdr:to>
    <cdr:graphicFrame macro="">
      <cdr:nvGraphicFramePr>
        <cdr:cNvPr id="2" name="Диаграмма 3"/>
        <cdr:cNvGraphicFramePr/>
      </cdr:nvGraphicFramePr>
      <cdr:xfrm>
        <a:off xmlns:a="http://schemas.openxmlformats.org/drawingml/2006/main" x="0" y="0"/>
        <a:ext xmlns:a="http://schemas.openxmlformats.org/drawingml/2006/main" cx="0" cy="0"/>
      </cdr:xfrm>
      <a:graphic xmlns:a="http://schemas.openxmlformats.org/drawingml/2006/main">
        <a:graphicData uri="http://schemas.openxmlformats.org/drawingml/2006/chart">
          <c:chart xmlns:c="http://schemas.openxmlformats.org/drawingml/2006/chart" xmlns:r="http://schemas.openxmlformats.org/officeDocument/2006/relationships" r:id="rId1"/>
        </a:graphicData>
      </a:graphic>
    </cdr:graphicFrame>
  </cdr:relSizeAnchor>
  <cdr:relSizeAnchor xmlns:cdr="http://schemas.openxmlformats.org/drawingml/2006/chartDrawing">
    <cdr:from>
      <cdr:x>0.09574</cdr:x>
      <cdr:y>0.15201</cdr:y>
    </cdr:from>
    <cdr:to>
      <cdr:x>0.25518</cdr:x>
      <cdr:y>0.40874</cdr:y>
    </cdr:to>
    <cdr:sp macro="" textlink="">
      <cdr:nvSpPr>
        <cdr:cNvPr id="4" name="Половина рамки 3"/>
        <cdr:cNvSpPr/>
      </cdr:nvSpPr>
      <cdr:spPr>
        <a:xfrm xmlns:a="http://schemas.openxmlformats.org/drawingml/2006/main">
          <a:off x="889003" y="921678"/>
          <a:ext cx="1480483" cy="1556642"/>
        </a:xfrm>
        <a:prstGeom xmlns:a="http://schemas.openxmlformats.org/drawingml/2006/main" prst="halfFrame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9574</cdr:x>
      <cdr:y>0.44842</cdr:y>
    </cdr:from>
    <cdr:to>
      <cdr:x>0.25518</cdr:x>
      <cdr:y>0.70515</cdr:y>
    </cdr:to>
    <cdr:sp macro="" textlink="">
      <cdr:nvSpPr>
        <cdr:cNvPr id="5" name="Половина рамки 4"/>
        <cdr:cNvSpPr/>
      </cdr:nvSpPr>
      <cdr:spPr>
        <a:xfrm xmlns:a="http://schemas.openxmlformats.org/drawingml/2006/main">
          <a:off x="889003" y="2718947"/>
          <a:ext cx="1480483" cy="1556642"/>
        </a:xfrm>
        <a:prstGeom xmlns:a="http://schemas.openxmlformats.org/drawingml/2006/main" prst="halfFrame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6429</cdr:x>
      <cdr:y>0.12262</cdr:y>
    </cdr:from>
    <cdr:to>
      <cdr:x>0.24762</cdr:x>
      <cdr:y>0.3686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93934" y="336368"/>
          <a:ext cx="838185" cy="67490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1D8CC-9342-4F05-945F-FF6BA7286EF4}" type="datetimeFigureOut">
              <a:rPr lang="ru-RU" smtClean="0"/>
              <a:t>12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7A1674-C625-4B77-9C53-E2D53F8902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147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7A1674-C625-4B77-9C53-E2D53F8902A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706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7A1674-C625-4B77-9C53-E2D53F8902A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0992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7A1674-C625-4B77-9C53-E2D53F8902A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593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Текст 17"/>
          <p:cNvSpPr>
            <a:spLocks noGrp="1"/>
          </p:cNvSpPr>
          <p:nvPr>
            <p:ph type="body" sz="quarter" idx="12" hasCustomPrompt="1"/>
          </p:nvPr>
        </p:nvSpPr>
        <p:spPr>
          <a:xfrm>
            <a:off x="94132" y="57845"/>
            <a:ext cx="7684024" cy="1865541"/>
          </a:xfrm>
          <a:solidFill>
            <a:srgbClr val="F2F2F2"/>
          </a:solidFill>
        </p:spPr>
        <p:txBody>
          <a:bodyPr>
            <a:normAutofit/>
          </a:bodyPr>
          <a:lstStyle>
            <a:lvl1pPr marL="0" indent="0">
              <a:buNone/>
              <a:defRPr sz="2400">
                <a:latin typeface="RussianRail G Pro" panose="02000503040000020004" pitchFamily="50" charset="-52"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891B93CD-1F07-46A5-A864-67E5BAFAFDC8}"/>
              </a:ext>
            </a:extLst>
          </p:cNvPr>
          <p:cNvSpPr/>
          <p:nvPr userDrawn="1"/>
        </p:nvSpPr>
        <p:spPr>
          <a:xfrm>
            <a:off x="94132" y="1995055"/>
            <a:ext cx="7684024" cy="2476787"/>
          </a:xfrm>
          <a:prstGeom prst="rect">
            <a:avLst/>
          </a:prstGeom>
          <a:solidFill>
            <a:srgbClr val="273A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4" tIns="45688" rIns="91374" bIns="45688"/>
          <a:lstStyle/>
          <a:p>
            <a:pPr defTabSz="609459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ussianRail G Pro"/>
              <a:ea typeface="Verdana" panose="020B060403050404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F3B9F717-4EEB-4B92-8658-CDA0B4800C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" y="4533230"/>
            <a:ext cx="4273108" cy="2193374"/>
          </a:xfrm>
          <a:prstGeom prst="rect">
            <a:avLst/>
          </a:prstGeom>
          <a:ln w="12700">
            <a:noFill/>
          </a:ln>
        </p:spPr>
      </p:pic>
      <p:grpSp>
        <p:nvGrpSpPr>
          <p:cNvPr id="10" name="Группа 9"/>
          <p:cNvGrpSpPr/>
          <p:nvPr userDrawn="1"/>
        </p:nvGrpSpPr>
        <p:grpSpPr>
          <a:xfrm>
            <a:off x="11198005" y="274193"/>
            <a:ext cx="792200" cy="479847"/>
            <a:chOff x="8172400" y="171642"/>
            <a:chExt cx="792302" cy="479736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pic>
        <p:nvPicPr>
          <p:cNvPr id="13" name="Picture 2" descr="C:\Users\ЛуксДЮ\Desktop\maxresdefault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1475" y="4533229"/>
            <a:ext cx="3535798" cy="2204011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D9ECF7A9-3C3F-4BDF-B662-AD961DCF57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332" y="4533230"/>
            <a:ext cx="3936437" cy="2199334"/>
          </a:xfrm>
          <a:prstGeom prst="rect">
            <a:avLst/>
          </a:prstGeom>
          <a:ln w="12700"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60484" y="61402"/>
            <a:ext cx="4146789" cy="4410440"/>
          </a:xfrm>
        </p:spPr>
        <p:txBody>
          <a:bodyPr anchor="b">
            <a:normAutofit/>
          </a:bodyPr>
          <a:lstStyle>
            <a:lvl1pPr algn="l">
              <a:defRPr sz="4400" b="1">
                <a:solidFill>
                  <a:schemeClr val="tx1">
                    <a:lumMod val="65000"/>
                    <a:lumOff val="3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94132" y="2033485"/>
            <a:ext cx="7684024" cy="1216129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RussianRail G Pro" panose="02000503040000020004" pitchFamily="50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Ф.И.О.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829453" y="1476501"/>
            <a:ext cx="1864743" cy="365125"/>
          </a:xfrm>
        </p:spPr>
        <p:txBody>
          <a:bodyPr/>
          <a:lstStyle>
            <a:lvl1pPr algn="r">
              <a:defRPr sz="2000">
                <a:solidFill>
                  <a:schemeClr val="tx1"/>
                </a:solidFill>
                <a:latin typeface="RussianRail G Pro" panose="02000503040000020004" pitchFamily="50" charset="-52"/>
              </a:defRPr>
            </a:lvl1pPr>
          </a:lstStyle>
          <a:p>
            <a:fld id="{AD3C4FD9-7848-4257-9255-8A86FA050B80}" type="datetime1">
              <a:rPr lang="ru-RU" smtClean="0"/>
              <a:pPr/>
              <a:t>12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94132" y="3381390"/>
            <a:ext cx="7684024" cy="1086895"/>
          </a:xfrm>
        </p:spPr>
        <p:txBody>
          <a:bodyPr anchor="t"/>
          <a:lstStyle>
            <a:lvl1pPr algn="l">
              <a:defRPr sz="2000">
                <a:solidFill>
                  <a:schemeClr val="bg1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 smtClean="0"/>
              <a:t>Должность</a:t>
            </a:r>
            <a:endParaRPr lang="ru-RU" dirty="0"/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3" hasCustomPrompt="1"/>
          </p:nvPr>
        </p:nvSpPr>
        <p:spPr>
          <a:xfrm>
            <a:off x="93663" y="1476501"/>
            <a:ext cx="5651830" cy="365125"/>
          </a:xfrm>
        </p:spPr>
        <p:txBody>
          <a:bodyPr anchor="ctr">
            <a:noAutofit/>
          </a:bodyPr>
          <a:lstStyle>
            <a:lvl1pPr marL="0" indent="0">
              <a:buNone/>
              <a:defRPr lang="ru-RU" sz="2000" smtClean="0">
                <a:latin typeface="RussianRail G Pro" panose="02000503040000020004" pitchFamily="50" charset="-52"/>
              </a:defRPr>
            </a:lvl1pPr>
            <a:lvl2pPr marL="457200" indent="0">
              <a:buNone/>
              <a:defRPr lang="ru-RU" sz="2000" smtClean="0">
                <a:latin typeface="RussianRail G Pro" panose="02000503040000020004" pitchFamily="50" charset="-52"/>
              </a:defRPr>
            </a:lvl2pPr>
            <a:lvl3pPr marL="914400" indent="0">
              <a:buNone/>
              <a:defRPr lang="ru-RU" sz="2000" smtClean="0">
                <a:latin typeface="RussianRail G Pro" panose="02000503040000020004" pitchFamily="50" charset="-52"/>
              </a:defRPr>
            </a:lvl3pPr>
            <a:lvl4pPr marL="1371600" indent="0">
              <a:buNone/>
              <a:defRPr lang="ru-RU" sz="2000" smtClean="0">
                <a:latin typeface="RussianRail G Pro" panose="02000503040000020004" pitchFamily="50" charset="-52"/>
              </a:defRPr>
            </a:lvl4pPr>
            <a:lvl5pPr marL="1828800" indent="0">
              <a:buNone/>
              <a:defRPr lang="ru-RU" sz="2000">
                <a:latin typeface="RussianRail G Pro" panose="02000503040000020004" pitchFamily="50" charset="-52"/>
              </a:defRPr>
            </a:lvl5pPr>
          </a:lstStyle>
          <a:p>
            <a:pPr lvl="0"/>
            <a:r>
              <a:rPr lang="ru-RU" dirty="0" smtClean="0"/>
              <a:t>Гор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23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8" name="Группа 7"/>
          <p:cNvGrpSpPr/>
          <p:nvPr userDrawn="1"/>
        </p:nvGrpSpPr>
        <p:grpSpPr>
          <a:xfrm>
            <a:off x="214916" y="257203"/>
            <a:ext cx="792304" cy="486791"/>
            <a:chOff x="8172400" y="171642"/>
            <a:chExt cx="792302" cy="479736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1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995" y="180999"/>
            <a:ext cx="11012868" cy="651984"/>
          </a:xfrm>
        </p:spPr>
        <p:txBody>
          <a:bodyPr>
            <a:normAutofit/>
          </a:bodyPr>
          <a:lstStyle>
            <a:lvl1pPr>
              <a:defRPr sz="2000" b="1">
                <a:latin typeface="RussianRail G Pro" panose="02000503040000020004" pitchFamily="50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0238119" y="6484690"/>
            <a:ext cx="1864743" cy="236785"/>
          </a:xfrm>
        </p:spPr>
        <p:txBody>
          <a:bodyPr/>
          <a:lstStyle>
            <a:lvl1pPr algn="r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fld id="{0E1F08F2-C3F5-4BAE-B4AA-28893706F4A9}" type="datetime1">
              <a:rPr lang="ru-RU" smtClean="0"/>
              <a:t>12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89995" y="6484690"/>
            <a:ext cx="9043906" cy="236785"/>
          </a:xfrm>
        </p:spPr>
        <p:txBody>
          <a:bodyPr/>
          <a:lstStyle>
            <a:lvl1pPr algn="l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14916" y="6484690"/>
            <a:ext cx="766313" cy="236785"/>
          </a:xfrm>
        </p:spPr>
        <p:txBody>
          <a:bodyPr/>
          <a:lstStyle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fld id="{074DA5DC-5823-4FE5-A194-71908FB1540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321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img-fotki.yandex.ru/get/151986/51789170.1be/0_e9fe7_d1e8351f_XXXL.jpg">
            <a:extLst>
              <a:ext uri="{FF2B5EF4-FFF2-40B4-BE49-F238E27FC236}">
                <a16:creationId xmlns="" xmlns:a16="http://schemas.microsoft.com/office/drawing/2014/main" id="{75F5DE6F-B61C-48D1-9014-57F6C470723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23" t="9479" r="16458"/>
          <a:stretch/>
        </p:blipFill>
        <p:spPr bwMode="auto">
          <a:xfrm>
            <a:off x="2" y="3"/>
            <a:ext cx="3030229" cy="685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9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74D0D53-BA16-41FE-9901-6FA194B431E5}"/>
              </a:ext>
            </a:extLst>
          </p:cNvPr>
          <p:cNvSpPr txBox="1"/>
          <p:nvPr userDrawn="1"/>
        </p:nvSpPr>
        <p:spPr>
          <a:xfrm>
            <a:off x="5124451" y="2892556"/>
            <a:ext cx="3279320" cy="386397"/>
          </a:xfrm>
          <a:prstGeom prst="rect">
            <a:avLst/>
          </a:prstGeom>
          <a:noFill/>
        </p:spPr>
        <p:txBody>
          <a:bodyPr wrap="square" lIns="77682" tIns="38846" rIns="77682" bIns="38846" rtlCol="0">
            <a:spAutoFit/>
          </a:bodyPr>
          <a:lstStyle/>
          <a:p>
            <a:pPr defTabSz="1087887"/>
            <a:r>
              <a:rPr lang="ru-RU" sz="2000" b="1" dirty="0">
                <a:solidFill>
                  <a:srgbClr val="000000"/>
                </a:solidFill>
                <a:latin typeface="RussianRail G Pro" pitchFamily="50" charset="-52"/>
                <a:ea typeface="Verdana" panose="020B0604030504040204" pitchFamily="34" charset="0"/>
              </a:rPr>
              <a:t>Спасибо за внимание</a:t>
            </a:r>
          </a:p>
        </p:txBody>
      </p:sp>
      <p:sp>
        <p:nvSpPr>
          <p:cNvPr id="11" name="Text Box 7">
            <a:extLst>
              <a:ext uri="{FF2B5EF4-FFF2-40B4-BE49-F238E27FC236}">
                <a16:creationId xmlns="" xmlns:a16="http://schemas.microsoft.com/office/drawing/2014/main" id="{97F98B73-42D4-40B2-BC28-FE0FB091D5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51203" y="5849490"/>
            <a:ext cx="6983412" cy="784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150" tIns="45568" rIns="91150" bIns="45568">
            <a:spAutoFit/>
          </a:bodyPr>
          <a:lstStyle/>
          <a:p>
            <a:pPr defTabSz="1087887"/>
            <a:r>
              <a:rPr lang="ru-RU" sz="1500" dirty="0">
                <a:solidFill>
                  <a:srgbClr val="006600"/>
                </a:solidFill>
                <a:latin typeface="RussianRail G Pro" pitchFamily="50" charset="-52"/>
              </a:rPr>
              <a:t>Пожалуйста, не распечатывайте эту презентацию и прилагаемые файлы без необходимости. Давайте бережно расходовать бумагу!</a:t>
            </a:r>
          </a:p>
          <a:p>
            <a:pPr algn="r" defTabSz="1087887"/>
            <a:r>
              <a:rPr lang="ru-RU" sz="1500" dirty="0">
                <a:solidFill>
                  <a:srgbClr val="006600"/>
                </a:solidFill>
                <a:latin typeface="RussianRail G Pro" pitchFamily="50" charset="-52"/>
              </a:rPr>
              <a:t>«Человек, думающий о будущем».</a:t>
            </a:r>
          </a:p>
        </p:txBody>
      </p:sp>
    </p:spTree>
    <p:extLst>
      <p:ext uri="{BB962C8B-B14F-4D97-AF65-F5344CB8AC3E}">
        <p14:creationId xmlns:p14="http://schemas.microsoft.com/office/powerpoint/2010/main" val="3825515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489056" y="6356350"/>
            <a:ext cx="18647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E02E79-FB33-43CB-B962-609EF4AFB8EF}" type="datetime1">
              <a:rPr lang="ru-RU" smtClean="0"/>
              <a:t>12.05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766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DA5DC-5823-4FE5-A194-71908FB1540F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Group 4"/>
          <p:cNvGrpSpPr>
            <a:grpSpLocks/>
          </p:cNvGrpSpPr>
          <p:nvPr userDrawn="1">
            <p:custDataLst>
              <p:tags r:id="rId5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8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9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0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1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2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750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1</a:t>
            </a:fld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598072" y="1610685"/>
            <a:ext cx="4805028" cy="2799516"/>
            <a:chOff x="598072" y="1610685"/>
            <a:chExt cx="4805028" cy="2799516"/>
          </a:xfrm>
        </p:grpSpPr>
        <p:graphicFrame>
          <p:nvGraphicFramePr>
            <p:cNvPr id="4" name="Диаграмма 3"/>
            <p:cNvGraphicFramePr/>
            <p:nvPr>
              <p:extLst>
                <p:ext uri="{D42A27DB-BD31-4B8C-83A1-F6EECF244321}">
                  <p14:modId xmlns:p14="http://schemas.microsoft.com/office/powerpoint/2010/main" val="30748377"/>
                </p:ext>
              </p:extLst>
            </p:nvPr>
          </p:nvGraphicFramePr>
          <p:xfrm>
            <a:off x="598072" y="1610686"/>
            <a:ext cx="3504734" cy="27995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Прямоугольник с одним усеченным и одним скругленным углом 4"/>
            <p:cNvSpPr/>
            <p:nvPr/>
          </p:nvSpPr>
          <p:spPr>
            <a:xfrm>
              <a:off x="4102806" y="1610685"/>
              <a:ext cx="1300294" cy="2799515"/>
            </a:xfrm>
            <a:prstGeom prst="snip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" name="Скругленный прямоугольник 9"/>
          <p:cNvSpPr/>
          <p:nvPr/>
        </p:nvSpPr>
        <p:spPr>
          <a:xfrm>
            <a:off x="8019875" y="2164360"/>
            <a:ext cx="1124125" cy="964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558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/>
          <p:cNvGrpSpPr/>
          <p:nvPr/>
        </p:nvGrpSpPr>
        <p:grpSpPr>
          <a:xfrm>
            <a:off x="935022" y="1182848"/>
            <a:ext cx="1400961" cy="1323050"/>
            <a:chOff x="539577" y="1179859"/>
            <a:chExt cx="1400961" cy="1323050"/>
          </a:xfrm>
        </p:grpSpPr>
        <p:sp>
          <p:nvSpPr>
            <p:cNvPr id="6" name="Прямоугольник 5" title="R_4"/>
            <p:cNvSpPr/>
            <p:nvPr/>
          </p:nvSpPr>
          <p:spPr>
            <a:xfrm>
              <a:off x="539577" y="1932458"/>
              <a:ext cx="604007" cy="5704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R_4</a:t>
              </a:r>
              <a:endParaRPr lang="ru-RU" dirty="0"/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539577" y="1179859"/>
              <a:ext cx="1400961" cy="1323049"/>
              <a:chOff x="6358855" y="3682767"/>
              <a:chExt cx="1400961" cy="1323049"/>
            </a:xfrm>
          </p:grpSpPr>
          <p:sp>
            <p:nvSpPr>
              <p:cNvPr id="8" name="Прямоугольник 7" title="R_3"/>
              <p:cNvSpPr/>
              <p:nvPr/>
            </p:nvSpPr>
            <p:spPr>
              <a:xfrm>
                <a:off x="6358855" y="3682767"/>
                <a:ext cx="604007" cy="570451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R_3</a:t>
                </a:r>
                <a:endParaRPr lang="ru-RU" dirty="0"/>
              </a:p>
            </p:txBody>
          </p:sp>
          <p:grpSp>
            <p:nvGrpSpPr>
              <p:cNvPr id="9" name="Группа 8"/>
              <p:cNvGrpSpPr/>
              <p:nvPr/>
            </p:nvGrpSpPr>
            <p:grpSpPr>
              <a:xfrm>
                <a:off x="7155809" y="3682767"/>
                <a:ext cx="604007" cy="1323049"/>
                <a:chOff x="7155809" y="3682767"/>
                <a:chExt cx="604007" cy="1323049"/>
              </a:xfrm>
            </p:grpSpPr>
            <p:sp>
              <p:nvSpPr>
                <p:cNvPr id="10" name="Прямоугольник 9" title="R_2"/>
                <p:cNvSpPr/>
                <p:nvPr/>
              </p:nvSpPr>
              <p:spPr>
                <a:xfrm>
                  <a:off x="7155809" y="3682767"/>
                  <a:ext cx="604007" cy="570451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 smtClean="0"/>
                    <a:t>R_2</a:t>
                  </a:r>
                  <a:endParaRPr lang="ru-RU" dirty="0"/>
                </a:p>
              </p:txBody>
            </p:sp>
            <p:sp>
              <p:nvSpPr>
                <p:cNvPr id="11" name="Прямоугольник 10" title="R_1"/>
                <p:cNvSpPr/>
                <p:nvPr/>
              </p:nvSpPr>
              <p:spPr>
                <a:xfrm>
                  <a:off x="7155809" y="4435365"/>
                  <a:ext cx="604007" cy="570451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 smtClean="0"/>
                    <a:t>R_1</a:t>
                  </a:r>
                  <a:endParaRPr lang="ru-RU" dirty="0"/>
                </a:p>
              </p:txBody>
            </p:sp>
          </p:grpSp>
        </p:grpSp>
      </p:grpSp>
      <p:sp>
        <p:nvSpPr>
          <p:cNvPr id="2" name="Прямоугольник 1"/>
          <p:cNvSpPr/>
          <p:nvPr/>
        </p:nvSpPr>
        <p:spPr>
          <a:xfrm>
            <a:off x="2885813" y="1182848"/>
            <a:ext cx="570451" cy="346938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_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0817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6" name="Диаграмм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894636"/>
              </p:ext>
            </p:extLst>
          </p:nvPr>
        </p:nvGraphicFramePr>
        <p:xfrm>
          <a:off x="1453243" y="397328"/>
          <a:ext cx="9285514" cy="6063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50665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5</TotalTime>
  <Words>16</Words>
  <Application>Microsoft Office PowerPoint</Application>
  <PresentationFormat>Широкоэкранный</PresentationFormat>
  <Paragraphs>13</Paragraphs>
  <Slides>3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RussianRail G Pro</vt:lpstr>
      <vt:lpstr>Verdana</vt:lpstr>
      <vt:lpstr>Wingdings</vt:lpstr>
      <vt:lpstr>Тема Office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каровАС</dc:creator>
  <cp:lastModifiedBy>МакаровАС</cp:lastModifiedBy>
  <cp:revision>17</cp:revision>
  <dcterms:created xsi:type="dcterms:W3CDTF">2018-11-21T07:30:38Z</dcterms:created>
  <dcterms:modified xsi:type="dcterms:W3CDTF">2020-05-12T08:04:20Z</dcterms:modified>
</cp:coreProperties>
</file>